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693" r:id="rId7"/>
    <p:sldId id="657" r:id="rId8"/>
    <p:sldId id="709" r:id="rId9"/>
    <p:sldId id="710" r:id="rId10"/>
    <p:sldId id="71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709"/>
            <p14:sldId id="710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52545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36364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0/09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0-Sep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products/individua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101561"/>
            <a:ext cx="12125649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ntroduction to NumPy Package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umPy is a Python package/library that stands for ‘Numerical Python’. It is the core library for scientific computing, which contains a powerful n-dimensional array object. It is also a linear algebra for python and almost all of the libraries in the Python ecosystem rely on it as one of their main building blocks.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NumPy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4432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800" dirty="0"/>
              <a:t>If you installed the </a:t>
            </a:r>
            <a:r>
              <a:rPr lang="en-US" sz="2800" dirty="0">
                <a:hlinkClick r:id="rId3"/>
              </a:rPr>
              <a:t>Anaconda distribution</a:t>
            </a:r>
            <a:r>
              <a:rPr lang="en-US" sz="2800" dirty="0"/>
              <a:t> of Python - it includes Python, NumPy, and other commonly used packages for scientific computing and data science. Therefore, no further installation steps are necessary. We recommend you use the </a:t>
            </a:r>
            <a:r>
              <a:rPr lang="en-US" sz="2800" dirty="0">
                <a:hlinkClick r:id="rId3"/>
              </a:rPr>
              <a:t>Anaconda distribution</a:t>
            </a:r>
            <a:r>
              <a:rPr lang="en-US" sz="2800" dirty="0"/>
              <a:t> of Python as you begin your data science journey.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4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install NumPy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0822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40219"/>
            <a:ext cx="11593145" cy="1318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800" dirty="0"/>
              <a:t>There are several ways to import NumPy. The standard approach is to use a simple import statement:</a:t>
            </a:r>
            <a:endParaRPr lang="en-US" sz="4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Importing the NumPy module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243CD0-B9AC-4043-BAD2-BA31D95AE0B1}"/>
              </a:ext>
            </a:extLst>
          </p:cNvPr>
          <p:cNvSpPr txBox="1"/>
          <p:nvPr/>
        </p:nvSpPr>
        <p:spPr>
          <a:xfrm>
            <a:off x="299427" y="3870354"/>
            <a:ext cx="6098458" cy="589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import </a:t>
            </a:r>
            <a:r>
              <a:rPr lang="en-US" sz="2400" dirty="0" err="1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numpy</a:t>
            </a:r>
            <a:r>
              <a:rPr lang="en-US" sz="2400" dirty="0">
                <a:solidFill>
                  <a:srgbClr val="EA9E2F"/>
                </a:solidFill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 as np</a:t>
            </a:r>
            <a:endParaRPr lang="en-US" sz="1600" dirty="0">
              <a:solidFill>
                <a:srgbClr val="EA9E2F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0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6</TotalTime>
  <Words>159</Words>
  <Application>Microsoft Office PowerPoint</Application>
  <PresentationFormat>Widescreen</PresentationFormat>
  <Paragraphs>10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Data Science</vt:lpstr>
      <vt:lpstr>Introduction to NumPy Packag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9</cp:revision>
  <dcterms:created xsi:type="dcterms:W3CDTF">2020-03-16T19:15:12Z</dcterms:created>
  <dcterms:modified xsi:type="dcterms:W3CDTF">2021-09-10T21:1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